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8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5B939-C887-4F68-ADED-B32A15F92B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B1BF66-FB1E-4518-8F16-458F26145E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149F0-060F-4EAC-A910-FC2241B58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B6EDE7-C6F2-4E07-8E2E-98FC2A40E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C273E-36F2-4911-BCF1-9671814D2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57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D28C7-6F65-45FC-A10F-F2533707E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9104FE-25F6-453E-9870-9770E2D13C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5C4838-D758-4AA0-BF08-90541783C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40E63D-18EF-4BB9-BFF0-EBE953732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903987-F5B7-4C25-87A0-F515365F2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645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685404-141C-4422-98F9-348CB9371D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9D33F4-9B67-44A6-BD41-D8A69ADFC4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1E397A-B4F3-4E2C-8AC7-1F045F4B5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D85E15-92BC-4DEE-B33A-0041F56740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11B573-BCFE-43DE-A17A-D0C172C41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356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7D9DA-64F1-4A8A-8DA9-D92E6AE2E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F7E10-4261-4656-B610-3B00BF7141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2AB5E0-6D06-4AF2-816D-FB4731D82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316668-FC96-42A0-A2A3-CDD1427E1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EE4AC7-747A-4A36-9991-139257A8A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271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4498B-32F9-41F8-94D6-E3BD2617C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C7C50-E375-41A1-8D99-9584A91537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DA3D56-129A-477B-B051-A5A3D6306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F1D08-3559-4F0A-B86F-D52178796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0084E3-A9F3-431B-9915-541ED38CF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101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36784-93EB-4374-A3EF-8E2248694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B9957-C3A6-4C26-BDFF-092C1CEAEC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225918-F1ED-4981-98F2-7DCC1222D3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D1B063-43DE-4CB2-9B73-C8A1FA9C4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C26DA7-8040-4236-B3B1-20E982A67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6B0CCD-F243-44CC-9350-B0E798DDD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125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5E53B-0AF6-4BFD-A337-4E046EC3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F6693-5409-44F8-9163-852124C15A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973C79-905F-4C42-BD0B-FB498E788B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F9E465-2B22-43CB-90FF-8CB32CC4AB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5752FF-FADD-474E-99B8-4BB287F1E0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3F60A2B-B91E-43D1-A44B-245361E41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280EC8-C0DD-431E-B9A2-78B377911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DAA206-F29A-4A21-9296-52C844ED0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668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E5D93-C3CA-4CC9-A44E-EB68FA73C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4161CE-C488-4D13-95CF-580F19271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8904E2-EB0A-4B7E-8639-A99314C0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5B1960-445D-4051-A96E-8402BED41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95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FAC3F8-C286-43DD-93D0-C55D7F312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076914-4057-4E8C-A12C-88AF2A3DD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9DD48F-955E-469B-8F5A-D548B9AA9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070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47CEA-DB08-4180-AC6E-9479AE1F5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CA1596-42F0-493B-ACF0-961E3C591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D282EB-C9CF-44C6-B5FB-C872951070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C52621-EF4E-48DE-B7CB-181506A0C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6B5B8F-0DA7-43B8-AAFB-C6F0436B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5B40B0-9EA0-4648-8717-A2D3A5B46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18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8210D-DE47-4012-B41D-4EF02B919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97808F-CFC9-4905-8BB7-A0B6C8F21A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84F57B-3352-4C17-8499-5FCDA59E9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0CA6E8-A6AC-4672-B055-C2DA3DD42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CAB622-2215-4CCA-AC2E-23A39F8BA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1BA9A1-5C70-47A7-8E9C-9E9A080BE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018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16692A-87DC-4AEC-9EA9-FC430A179F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4849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F1A843C-AA1E-4527-BCEA-FE6DFD2E24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FD3531-2D58-4C01-A54F-DC7DD36E1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08DAAC-D3CC-45BF-B98F-3E783BA949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D0718-ACA6-4A47-9049-A686EC2247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EB5EB-B523-4131-9A19-96749BBF0C30}" type="datetimeFigureOut">
              <a:rPr lang="en-US" smtClean="0"/>
              <a:t>8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8C96D-BA05-4393-A13F-3213CDED08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FF8D4-638B-4FFA-ABA4-D9D10BC3B9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FCE665-1108-4775-A82E-027D1D5BFC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318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597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F4368A2-E604-4574-9286-5EDC20C5BFEF}"/>
              </a:ext>
            </a:extLst>
          </p:cNvPr>
          <p:cNvSpPr txBox="1"/>
          <p:nvPr/>
        </p:nvSpPr>
        <p:spPr>
          <a:xfrm>
            <a:off x="2398426" y="2213282"/>
            <a:ext cx="7989688" cy="24314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IBM Capstone | Accident severity analysis</a:t>
            </a:r>
          </a:p>
          <a:p>
            <a:endParaRPr lang="en-US" sz="3200" dirty="0"/>
          </a:p>
          <a:p>
            <a:endParaRPr lang="en-US" sz="3200" dirty="0"/>
          </a:p>
          <a:p>
            <a:endParaRPr lang="en-US" sz="3200" dirty="0"/>
          </a:p>
          <a:p>
            <a:pPr algn="r"/>
            <a:r>
              <a:rPr lang="en-US" sz="2000" dirty="0"/>
              <a:t>- Sagar Sharma</a:t>
            </a:r>
          </a:p>
        </p:txBody>
      </p:sp>
    </p:spTree>
    <p:extLst>
      <p:ext uri="{BB962C8B-B14F-4D97-AF65-F5344CB8AC3E}">
        <p14:creationId xmlns:p14="http://schemas.microsoft.com/office/powerpoint/2010/main" val="731439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462324A-0722-47B3-B08D-AE9E5FFA09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3258" y="2238209"/>
            <a:ext cx="6325483" cy="238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004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CF65157-AFA1-4F6D-89E2-3F269803B5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5417" y="554636"/>
            <a:ext cx="8302826" cy="581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50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D439C0B-347D-4E36-A098-A80F2C01BF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3497" y="2433498"/>
            <a:ext cx="4525006" cy="199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502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55F8223-B9EC-4CCA-A901-9D7C67F9DB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1128" y="2466840"/>
            <a:ext cx="4429743" cy="1924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54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4BF6B5F8-729B-4677-882E-A7DD685584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4102" y="1023602"/>
            <a:ext cx="3543795" cy="481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581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5DDA0B-6D51-40E2-947B-E994660F7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5203" y="1687777"/>
            <a:ext cx="9621593" cy="255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56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8A5C4EE6-21DC-418C-9407-B7D8485BB8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4876" y="899410"/>
            <a:ext cx="8532994" cy="45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531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4EBE749-5B40-4FF4-A966-FA20894258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3972" y="1109272"/>
            <a:ext cx="9223395" cy="443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01DE3AF-A8BA-4CA9-A085-D74D4EB2EA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4080" y="959370"/>
            <a:ext cx="8620105" cy="478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944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5164736-8560-474C-98AC-07E30408AB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9628" y="1471339"/>
            <a:ext cx="4972744" cy="391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604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AC9E96D-DF8C-4C4D-A296-B1729E2A06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0890" y="1809524"/>
            <a:ext cx="6230219" cy="323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33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8F09574-FD99-4B1A-B8D1-539A1E684D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6601" y="1780945"/>
            <a:ext cx="6258798" cy="3296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57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948A2D-51CA-4134-A843-3CAB08705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948A2D-51CA-4134-A843-3CAB08705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4226F66-1CD1-445C-9138-D5A059EC89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1287" y="2400156"/>
            <a:ext cx="3229426" cy="2057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187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tQ8_zKaQ_T.Uk14hCY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9</Words>
  <Application>Microsoft Office PowerPoint</Application>
  <PresentationFormat>Widescreen</PresentationFormat>
  <Paragraphs>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gar Sharma</dc:creator>
  <cp:lastModifiedBy>Sagar Sharma</cp:lastModifiedBy>
  <cp:revision>2</cp:revision>
  <dcterms:created xsi:type="dcterms:W3CDTF">2020-08-27T13:24:16Z</dcterms:created>
  <dcterms:modified xsi:type="dcterms:W3CDTF">2020-08-27T13:41:02Z</dcterms:modified>
</cp:coreProperties>
</file>